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3.xml" ContentType="application/vnd.openxmlformats-officedocument.presentationml.slide+xml"/>
  <Override PartName="/ppt/tags/tag87.xml" ContentType="application/vnd.openxmlformats-officedocument.presentationml.tags+xml"/>
  <Override PartName="/ppt/tags/tag92.xml" ContentType="application/vnd.openxmlformats-officedocument.presentationml.tags+xml"/>
  <Override PartName="/ppt/tags/tag100.xml" ContentType="application/vnd.openxmlformats-officedocument.presentationml.tags+xml"/>
  <Override PartName="/ppt/tags/tag77.xml" ContentType="application/vnd.openxmlformats-officedocument.presentationml.tags+xml"/>
  <Override PartName="/ppt/tags/tag95.xml" ContentType="application/vnd.openxmlformats-officedocument.presentationml.tags+xml"/>
  <Override PartName="/ppt/tags/tag81.xml" ContentType="application/vnd.openxmlformats-officedocument.presentationml.tags+xml"/>
  <Override PartName="/ppt/tags/tag86.xml" ContentType="application/vnd.openxmlformats-officedocument.presentationml.tags+xml"/>
  <Override PartName="/ppt/tags/tag91.xml" ContentType="application/vnd.openxmlformats-officedocument.presentationml.tags+xml"/>
  <Override PartName="/ppt/tags/tag99.xml" ContentType="application/vnd.openxmlformats-officedocument.presentationml.tags+xml"/>
  <Override PartName="/ppt/charts/chart6.xml" ContentType="application/vnd.openxmlformats-officedocument.drawingml.chart+xml"/>
  <Override PartName="/ppt/tags/tag76.xml" ContentType="application/vnd.openxmlformats-officedocument.presentationml.tags+xml"/>
  <Override PartName="/ppt/tags/tag90.xml" ContentType="application/vnd.openxmlformats-officedocument.presentationml.tags+xml"/>
  <Override PartName="/ppt/tags/tag94.xml" ContentType="application/vnd.openxmlformats-officedocument.presentationml.tags+xml"/>
  <Override PartName="/ppt/tags/tag80.xml" ContentType="application/vnd.openxmlformats-officedocument.presentationml.tags+xml"/>
  <Override PartName="/ppt/tags/tag85.xml" ContentType="application/vnd.openxmlformats-officedocument.presentationml.tags+xml"/>
  <Override PartName="/ppt/tags/tag98.xml" ContentType="application/vnd.openxmlformats-officedocument.presentationml.tags+xml"/>
  <Override PartName="/ppt/charts/chart5.xml" ContentType="application/vnd.openxmlformats-officedocument.drawingml.chart+xml"/>
  <Override PartName="/ppt/tags/tag79.xml" ContentType="application/vnd.openxmlformats-officedocument.presentationml.tags+xml"/>
  <Override PartName="/ppt/tags/tag89.xml" ContentType="application/vnd.openxmlformats-officedocument.presentationml.tags+xml"/>
  <Override PartName="/ppt/tags/tag97.xml" ContentType="application/vnd.openxmlformats-officedocument.presentationml.tags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84.xml" ContentType="application/vnd.openxmlformats-officedocument.presentationml.tags+xml"/>
  <Override PartName="/ppt/tags/tag93.xml" ContentType="application/vnd.openxmlformats-officedocument.presentationml.tags+xml"/>
  <Override PartName="/ppt/charts/chart4.xml" ContentType="application/vnd.openxmlformats-officedocument.drawingml.chart+xml"/>
  <Override PartName="/ppt/tags/tag78.xml" ContentType="application/vnd.openxmlformats-officedocument.presentationml.tags+xml"/>
  <Override PartName="/ppt/tags/tag83.xml" ContentType="application/vnd.openxmlformats-officedocument.presentationml.tags+xml"/>
  <Override PartName="/ppt/tags/tag88.xml" ContentType="application/vnd.openxmlformats-officedocument.presentationml.tags+xml"/>
  <Override PartName="/ppt/tags/tag96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82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7" r:id="rId1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3.xml" Id="rId16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4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3.xlsb" Id="rId1" /></Relationships>
</file>

<file path=ppt/charts/_rels/chart5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.xlsb" Id="rId1" /></Relationships>
</file>

<file path=ppt/charts/_rels/chart6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.xlsb" Id="rId1" /></Relationships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540063377093707E-2"/>
          <c:y val="0.24467005076142131"/>
          <c:w val="0.95291987324581262"/>
          <c:h val="0.5847715736040609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29949238578680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C42-4EF3-911A-624A3E57987F}"/>
                </c:ext>
              </c:extLst>
            </c:dLbl>
            <c:dLbl>
              <c:idx val="1"/>
              <c:layout>
                <c:manualLayout>
                  <c:x val="0"/>
                  <c:y val="-0.216243654822335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C42-4EF3-911A-624A3E57987F}"/>
                </c:ext>
              </c:extLst>
            </c:dLbl>
            <c:dLbl>
              <c:idx val="2"/>
              <c:layout>
                <c:manualLayout>
                  <c:x val="0"/>
                  <c:y val="-0.367512690355329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C42-4EF3-911A-624A3E5798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.5</c:v>
                </c:pt>
                <c:pt idx="1">
                  <c:v>2.8</c:v>
                </c:pt>
                <c:pt idx="2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42-4EF3-911A-624A3E57987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26395939086294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C42-4EF3-911A-624A3E57987F}"/>
                </c:ext>
              </c:extLst>
            </c:dLbl>
            <c:dLbl>
              <c:idx val="1"/>
              <c:layout>
                <c:manualLayout>
                  <c:x val="0"/>
                  <c:y val="-0.27614213197969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C42-4EF3-911A-624A3E57987F}"/>
                </c:ext>
              </c:extLst>
            </c:dLbl>
            <c:dLbl>
              <c:idx val="2"/>
              <c:layout>
                <c:manualLayout>
                  <c:x val="0"/>
                  <c:y val="-0.327918781725888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C42-4EF3-911A-624A3E5798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3</c:v>
                </c:pt>
                <c:pt idx="1">
                  <c:v>4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42-4EF3-911A-624A3E57987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7614213197969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C42-4EF3-911A-624A3E57987F}"/>
                </c:ext>
              </c:extLst>
            </c:dLbl>
            <c:dLbl>
              <c:idx val="1"/>
              <c:layout>
                <c:manualLayout>
                  <c:x val="0"/>
                  <c:y val="-0.176649746192893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C42-4EF3-911A-624A3E57987F}"/>
                </c:ext>
              </c:extLst>
            </c:dLbl>
            <c:dLbl>
              <c:idx val="2"/>
              <c:layout>
                <c:manualLayout>
                  <c:x val="0"/>
                  <c:y val="-7.91878172588832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C42-4EF3-911A-624A3E5798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C42-4EF3-911A-624A3E5798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axId val="340387488"/>
        <c:axId val="1"/>
      </c:barChart>
      <c:catAx>
        <c:axId val="34038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387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399132321041212E-2"/>
          <c:y val="5.6399132321041212E-2"/>
          <c:w val="0.88720173535791758"/>
          <c:h val="0.8872017353579175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4B8-4690-BA67-9C1C4A15F93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4B8-4690-BA67-9C1C4A15F93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4B8-4690-BA67-9C1C4A15F937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B8-4690-BA67-9C1C4A15F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540063377093707E-2"/>
          <c:y val="7.6470588235294124E-2"/>
          <c:w val="0.95291987324581262"/>
          <c:h val="0.84705882352941175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C$1</c:f>
              <c:numCache>
                <c:formatCode>General</c:formatCode>
                <c:ptCount val="3"/>
                <c:pt idx="0">
                  <c:v>1.5</c:v>
                </c:pt>
                <c:pt idx="1">
                  <c:v>2.8</c:v>
                </c:pt>
                <c:pt idx="2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BBE-439D-9913-0450E1281A1A}"/>
            </c:ext>
          </c:extLst>
        </c:ser>
        <c:ser>
          <c:idx val="1"/>
          <c:order val="1"/>
          <c:spPr>
            <a:ln w="381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C$2</c:f>
              <c:numCache>
                <c:formatCode>General</c:formatCode>
                <c:ptCount val="3"/>
                <c:pt idx="0">
                  <c:v>0.5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BE-439D-9913-0450E1281A1A}"/>
            </c:ext>
          </c:extLst>
        </c:ser>
        <c:ser>
          <c:idx val="2"/>
          <c:order val="2"/>
          <c:spPr>
            <a:ln w="3810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C$3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BE-439D-9913-0450E1281A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0424288"/>
        <c:axId val="1"/>
      </c:lineChart>
      <c:catAx>
        <c:axId val="340424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424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.xml.rels>&#65279;<?xml version="1.0" encoding="utf-8"?><Relationships xmlns="http://schemas.openxmlformats.org/package/2006/relationships"><Relationship Type="http://schemas.openxmlformats.org/officeDocument/2006/relationships/slide" Target="/ppt/slides/slide13.xml" Id="rId2" /><Relationship Type="http://schemas.openxmlformats.org/officeDocument/2006/relationships/notesMaster" Target="/ppt/notesMasters/notesMaster1.xml" Id="rId1" /></Relationship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63058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.xml.rels>&#65279;<?xml version="1.0" encoding="utf-8"?><Relationships xmlns="http://schemas.openxmlformats.org/package/2006/relationships"><Relationship Type="http://schemas.openxmlformats.org/officeDocument/2006/relationships/tags" Target="/ppt/tags/tag87.xml" Id="rId13" /><Relationship Type="http://schemas.openxmlformats.org/officeDocument/2006/relationships/tags" Target="/ppt/tags/tag92.xml" Id="rId18" /><Relationship Type="http://schemas.openxmlformats.org/officeDocument/2006/relationships/tags" Target="/ppt/tags/tag100.xml" Id="rId26" /><Relationship Type="http://schemas.openxmlformats.org/officeDocument/2006/relationships/tags" Target="/ppt/tags/tag77.xml" Id="rId3" /><Relationship Type="http://schemas.openxmlformats.org/officeDocument/2006/relationships/tags" Target="/ppt/tags/tag95.xml" Id="rId21" /><Relationship Type="http://schemas.openxmlformats.org/officeDocument/2006/relationships/tags" Target="/ppt/tags/tag81.xml" Id="rId7" /><Relationship Type="http://schemas.openxmlformats.org/officeDocument/2006/relationships/tags" Target="/ppt/tags/tag86.xml" Id="rId12" /><Relationship Type="http://schemas.openxmlformats.org/officeDocument/2006/relationships/tags" Target="/ppt/tags/tag91.xml" Id="rId17" /><Relationship Type="http://schemas.openxmlformats.org/officeDocument/2006/relationships/tags" Target="/ppt/tags/tag99.xml" Id="rId25" /><Relationship Type="http://schemas.openxmlformats.org/officeDocument/2006/relationships/chart" Target="/ppt/charts/chart6.xml" Id="rId33" /><Relationship Type="http://schemas.openxmlformats.org/officeDocument/2006/relationships/tags" Target="/ppt/tags/tag76.xml" Id="rId2" /><Relationship Type="http://schemas.openxmlformats.org/officeDocument/2006/relationships/tags" Target="/ppt/tags/tag90.xml" Id="rId16" /><Relationship Type="http://schemas.openxmlformats.org/officeDocument/2006/relationships/tags" Target="/ppt/tags/tag94.xml" Id="rId20" /><Relationship Type="http://schemas.openxmlformats.org/officeDocument/2006/relationships/oleObject" Target="/ppt/embeddings/oleObject17.bin" Id="rId29" /><Relationship Type="http://schemas.openxmlformats.org/officeDocument/2006/relationships/vmlDrawing" Target="/ppt/drawings/vmlDrawing17.vml" Id="rId1" /><Relationship Type="http://schemas.openxmlformats.org/officeDocument/2006/relationships/tags" Target="/ppt/tags/tag80.xml" Id="rId6" /><Relationship Type="http://schemas.openxmlformats.org/officeDocument/2006/relationships/tags" Target="/ppt/tags/tag85.xml" Id="rId11" /><Relationship Type="http://schemas.openxmlformats.org/officeDocument/2006/relationships/tags" Target="/ppt/tags/tag98.xml" Id="rId24" /><Relationship Type="http://schemas.openxmlformats.org/officeDocument/2006/relationships/chart" Target="/ppt/charts/chart5.xml" Id="rId32" /><Relationship Type="http://schemas.openxmlformats.org/officeDocument/2006/relationships/tags" Target="/ppt/tags/tag79.xml" Id="rId5" /><Relationship Type="http://schemas.openxmlformats.org/officeDocument/2006/relationships/tags" Target="/ppt/tags/tag89.xml" Id="rId15" /><Relationship Type="http://schemas.openxmlformats.org/officeDocument/2006/relationships/tags" Target="/ppt/tags/tag97.xml" Id="rId23" /><Relationship Type="http://schemas.openxmlformats.org/officeDocument/2006/relationships/notesSlide" Target="/ppt/notesSlides/notesSlide13.xml" Id="rId28" /><Relationship Type="http://schemas.openxmlformats.org/officeDocument/2006/relationships/tags" Target="/ppt/tags/tag84.xml" Id="rId10" /><Relationship Type="http://schemas.openxmlformats.org/officeDocument/2006/relationships/tags" Target="/ppt/tags/tag93.xml" Id="rId19" /><Relationship Type="http://schemas.openxmlformats.org/officeDocument/2006/relationships/chart" Target="/ppt/charts/chart4.xml" Id="rId31" /><Relationship Type="http://schemas.openxmlformats.org/officeDocument/2006/relationships/tags" Target="/ppt/tags/tag78.xml" Id="rId4" /><Relationship Type="http://schemas.openxmlformats.org/officeDocument/2006/relationships/tags" Target="/ppt/tags/tag83.xml" Id="rId9" /><Relationship Type="http://schemas.openxmlformats.org/officeDocument/2006/relationships/tags" Target="/ppt/tags/tag88.xml" Id="rId14" /><Relationship Type="http://schemas.openxmlformats.org/officeDocument/2006/relationships/tags" Target="/ppt/tags/tag96.xml" Id="rId22" /><Relationship Type="http://schemas.openxmlformats.org/officeDocument/2006/relationships/slideLayout" Target="/ppt/slideLayouts/slideLayout5.xml" Id="rId27" /><Relationship Type="http://schemas.openxmlformats.org/officeDocument/2006/relationships/image" Target="/ppt/media/image4.emf" Id="rId30" /><Relationship Type="http://schemas.openxmlformats.org/officeDocument/2006/relationships/tags" Target="/ppt/tags/tag82.xml" Id="rId8" /></Relationships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31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幻灯片" r:id="rId29" imgW="349" imgH="350" progId="TCLayout.ActiveDocument.1">
                  <p:embed/>
                </p:oleObj>
              </mc:Choice>
              <mc:Fallback>
                <p:oleObj name="think-cell 幻灯片" r:id="rId2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Traffic light </a:t>
            </a:r>
            <a:r>
              <a:rPr lang="en-US"/>
              <a:t>d</a:t>
            </a:r>
            <a:r>
              <a:rPr lang="en-US" noProof="0" err="1"/>
              <a:t>ashboard</a:t>
            </a:r>
            <a:endParaRPr lang="en-US"/>
          </a:p>
        </p:txBody>
      </p:sp>
      <p:sp>
        <p:nvSpPr>
          <p:cNvPr id="2" name="Rechteck 7">
            <a:extLst>
              <a:ext uri="{FF2B5EF4-FFF2-40B4-BE49-F238E27FC236}">
                <a16:creationId xmlns:a16="http://schemas.microsoft.com/office/drawing/2014/main" id="{EFF5CEB2-1AFF-D109-B8AC-73D188141BA5}"/>
              </a:ext>
            </a:extLst>
          </p:cNvPr>
          <p:cNvSpPr>
            <a:spLocks/>
          </p:cNvSpPr>
          <p:nvPr/>
        </p:nvSpPr>
        <p:spPr>
          <a:xfrm>
            <a:off x="407988" y="1562100"/>
            <a:ext cx="368788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3" name="Rechteck 8">
            <a:extLst>
              <a:ext uri="{FF2B5EF4-FFF2-40B4-BE49-F238E27FC236}">
                <a16:creationId xmlns:a16="http://schemas.microsoft.com/office/drawing/2014/main" id="{77882848-7EAC-A2F4-7B11-57AB624E0A04}"/>
              </a:ext>
            </a:extLst>
          </p:cNvPr>
          <p:cNvSpPr>
            <a:spLocks/>
          </p:cNvSpPr>
          <p:nvPr/>
        </p:nvSpPr>
        <p:spPr>
          <a:xfrm>
            <a:off x="407988" y="3903389"/>
            <a:ext cx="368788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828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nsectetue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mmodo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ligula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g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olor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ssa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Cum soci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toque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penatib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gni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is parturien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onte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scetu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ridicul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mus. </a:t>
            </a:r>
          </a:p>
        </p:txBody>
      </p:sp>
      <p:sp>
        <p:nvSpPr>
          <p:cNvPr id="4" name="Rechteck 11">
            <a:extLst>
              <a:ext uri="{FF2B5EF4-FFF2-40B4-BE49-F238E27FC236}">
                <a16:creationId xmlns:a16="http://schemas.microsoft.com/office/drawing/2014/main" id="{62CAE1C4-EFFD-C56C-576D-7941705C43A3}"/>
              </a:ext>
            </a:extLst>
          </p:cNvPr>
          <p:cNvSpPr>
            <a:spLocks/>
          </p:cNvSpPr>
          <p:nvPr/>
        </p:nvSpPr>
        <p:spPr>
          <a:xfrm>
            <a:off x="4275870" y="1562100"/>
            <a:ext cx="367677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6" name="Rechteck 12">
            <a:extLst>
              <a:ext uri="{FF2B5EF4-FFF2-40B4-BE49-F238E27FC236}">
                <a16:creationId xmlns:a16="http://schemas.microsoft.com/office/drawing/2014/main" id="{654AFD4A-ACC3-F09B-F69A-0E5A1216E067}"/>
              </a:ext>
            </a:extLst>
          </p:cNvPr>
          <p:cNvSpPr>
            <a:spLocks/>
          </p:cNvSpPr>
          <p:nvPr/>
        </p:nvSpPr>
        <p:spPr>
          <a:xfrm>
            <a:off x="4275870" y="3903389"/>
            <a:ext cx="3676771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828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nsectetue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mmodo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ligula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g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olor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ssa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Cum soci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toque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penatib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gni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is parturien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onte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scetu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ridicul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mus. </a:t>
            </a: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875C7996-B819-8866-EA0F-27BB29B30CF3}"/>
              </a:ext>
            </a:extLst>
          </p:cNvPr>
          <p:cNvSpPr>
            <a:spLocks/>
          </p:cNvSpPr>
          <p:nvPr/>
        </p:nvSpPr>
        <p:spPr>
          <a:xfrm>
            <a:off x="8132642" y="1562100"/>
            <a:ext cx="3687883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Rechteck 15">
            <a:extLst>
              <a:ext uri="{FF2B5EF4-FFF2-40B4-BE49-F238E27FC236}">
                <a16:creationId xmlns:a16="http://schemas.microsoft.com/office/drawing/2014/main" id="{50413045-69F1-5A70-6C3F-E22E3AB9911C}"/>
              </a:ext>
            </a:extLst>
          </p:cNvPr>
          <p:cNvSpPr>
            <a:spLocks/>
          </p:cNvSpPr>
          <p:nvPr/>
        </p:nvSpPr>
        <p:spPr>
          <a:xfrm>
            <a:off x="8132642" y="3903389"/>
            <a:ext cx="3687883" cy="215451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828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nsectetue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li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commodo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ligula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get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olor. Aenean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ssa</a:t>
            </a:r>
            <a:r>
              <a:rPr lang="en-US" sz="1200">
                <a:solidFill>
                  <a:srgbClr val="000000"/>
                </a:solidFill>
                <a:sym typeface="Futura"/>
              </a:rPr>
              <a:t>. Cum sociis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toque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penatib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e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agni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dis parturien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monte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nascetur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ridiculus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mus. </a:t>
            </a:r>
          </a:p>
        </p:txBody>
      </p:sp>
      <p:grpSp>
        <p:nvGrpSpPr>
          <p:cNvPr id="11" name="Gruppieren 22">
            <a:extLst>
              <a:ext uri="{FF2B5EF4-FFF2-40B4-BE49-F238E27FC236}">
                <a16:creationId xmlns:a16="http://schemas.microsoft.com/office/drawing/2014/main" id="{64796B59-499A-875B-DBE9-A6A0BA95C8A0}"/>
              </a:ext>
            </a:extLst>
          </p:cNvPr>
          <p:cNvGrpSpPr>
            <a:grpSpLocks/>
          </p:cNvGrpSpPr>
          <p:nvPr/>
        </p:nvGrpSpPr>
        <p:grpSpPr>
          <a:xfrm>
            <a:off x="11326475" y="4032250"/>
            <a:ext cx="323900" cy="882650"/>
            <a:chOff x="11378863" y="3907808"/>
            <a:chExt cx="323900" cy="883267"/>
          </a:xfrm>
        </p:grpSpPr>
        <p:grpSp>
          <p:nvGrpSpPr>
            <p:cNvPr id="12" name="Gruppieren 21">
              <a:extLst>
                <a:ext uri="{FF2B5EF4-FFF2-40B4-BE49-F238E27FC236}">
                  <a16:creationId xmlns:a16="http://schemas.microsoft.com/office/drawing/2014/main" id="{6604B99B-1FBB-32AF-0537-BFC6EC526BD1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14" name="Ellipse 16">
                <a:extLst>
                  <a:ext uri="{FF2B5EF4-FFF2-40B4-BE49-F238E27FC236}">
                    <a16:creationId xmlns:a16="http://schemas.microsoft.com/office/drawing/2014/main" id="{CAA7DFFF-914E-6789-BFF1-8662AD88AF2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rgbClr val="E03A3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Ellipse 17">
                <a:extLst>
                  <a:ext uri="{FF2B5EF4-FFF2-40B4-BE49-F238E27FC236}">
                    <a16:creationId xmlns:a16="http://schemas.microsoft.com/office/drawing/2014/main" id="{979A0F6A-B7CD-5F29-A7D4-A076CA297C1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Ellipse 18">
                <a:extLst>
                  <a:ext uri="{FF2B5EF4-FFF2-40B4-BE49-F238E27FC236}">
                    <a16:creationId xmlns:a16="http://schemas.microsoft.com/office/drawing/2014/main" id="{67BE2870-C954-2B28-2EC8-4D610B9461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" name="Rechteck: abgerundete Ecken 20">
              <a:extLst>
                <a:ext uri="{FF2B5EF4-FFF2-40B4-BE49-F238E27FC236}">
                  <a16:creationId xmlns:a16="http://schemas.microsoft.com/office/drawing/2014/main" id="{CB9F5517-FCB0-35C6-E427-F76370B40A75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uppieren 23">
            <a:extLst>
              <a:ext uri="{FF2B5EF4-FFF2-40B4-BE49-F238E27FC236}">
                <a16:creationId xmlns:a16="http://schemas.microsoft.com/office/drawing/2014/main" id="{0C180049-E0F5-D200-2B9F-96EED751FD5A}"/>
              </a:ext>
            </a:extLst>
          </p:cNvPr>
          <p:cNvGrpSpPr>
            <a:grpSpLocks/>
          </p:cNvGrpSpPr>
          <p:nvPr/>
        </p:nvGrpSpPr>
        <p:grpSpPr>
          <a:xfrm>
            <a:off x="7474565" y="4032250"/>
            <a:ext cx="323900" cy="882650"/>
            <a:chOff x="11378863" y="3907808"/>
            <a:chExt cx="323900" cy="883267"/>
          </a:xfrm>
        </p:grpSpPr>
        <p:grpSp>
          <p:nvGrpSpPr>
            <p:cNvPr id="18" name="Gruppieren 24">
              <a:extLst>
                <a:ext uri="{FF2B5EF4-FFF2-40B4-BE49-F238E27FC236}">
                  <a16:creationId xmlns:a16="http://schemas.microsoft.com/office/drawing/2014/main" id="{BE2E91CB-6D93-B8FD-1974-B9F7FED77C47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20" name="Ellipse 26">
                <a:extLst>
                  <a:ext uri="{FF2B5EF4-FFF2-40B4-BE49-F238E27FC236}">
                    <a16:creationId xmlns:a16="http://schemas.microsoft.com/office/drawing/2014/main" id="{B4455F53-7330-0CE1-01F6-1F91468D9A2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Ellipse 27">
                <a:extLst>
                  <a:ext uri="{FF2B5EF4-FFF2-40B4-BE49-F238E27FC236}">
                    <a16:creationId xmlns:a16="http://schemas.microsoft.com/office/drawing/2014/main" id="{56B2919B-9870-CA1F-0C38-6E12C3DC18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Ellipse 28">
                <a:extLst>
                  <a:ext uri="{FF2B5EF4-FFF2-40B4-BE49-F238E27FC236}">
                    <a16:creationId xmlns:a16="http://schemas.microsoft.com/office/drawing/2014/main" id="{E95F0B78-C10C-1821-28B5-F368F15A55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9" name="Rechteck: abgerundete Ecken 25">
              <a:extLst>
                <a:ext uri="{FF2B5EF4-FFF2-40B4-BE49-F238E27FC236}">
                  <a16:creationId xmlns:a16="http://schemas.microsoft.com/office/drawing/2014/main" id="{F4D273C2-E508-D334-F187-AD559D8C3FF3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uppieren 29">
            <a:extLst>
              <a:ext uri="{FF2B5EF4-FFF2-40B4-BE49-F238E27FC236}">
                <a16:creationId xmlns:a16="http://schemas.microsoft.com/office/drawing/2014/main" id="{23E4786B-2169-B285-ECB2-82D102E8AB0F}"/>
              </a:ext>
            </a:extLst>
          </p:cNvPr>
          <p:cNvGrpSpPr>
            <a:grpSpLocks/>
          </p:cNvGrpSpPr>
          <p:nvPr/>
        </p:nvGrpSpPr>
        <p:grpSpPr>
          <a:xfrm>
            <a:off x="3622655" y="4032250"/>
            <a:ext cx="323900" cy="882650"/>
            <a:chOff x="11378863" y="3907808"/>
            <a:chExt cx="323900" cy="883267"/>
          </a:xfrm>
        </p:grpSpPr>
        <p:grpSp>
          <p:nvGrpSpPr>
            <p:cNvPr id="24" name="Gruppieren 30">
              <a:extLst>
                <a:ext uri="{FF2B5EF4-FFF2-40B4-BE49-F238E27FC236}">
                  <a16:creationId xmlns:a16="http://schemas.microsoft.com/office/drawing/2014/main" id="{7F4783AE-62F6-6B02-4142-E3989328BCE3}"/>
                </a:ext>
              </a:extLst>
            </p:cNvPr>
            <p:cNvGrpSpPr>
              <a:grpSpLocks/>
            </p:cNvGrpSpPr>
            <p:nvPr/>
          </p:nvGrpSpPr>
          <p:grpSpPr>
            <a:xfrm>
              <a:off x="11423026" y="3958098"/>
              <a:ext cx="235574" cy="782686"/>
              <a:chOff x="11423026" y="3957320"/>
              <a:chExt cx="235574" cy="782686"/>
            </a:xfrm>
          </p:grpSpPr>
          <p:sp>
            <p:nvSpPr>
              <p:cNvPr id="26" name="Ellipse 32">
                <a:extLst>
                  <a:ext uri="{FF2B5EF4-FFF2-40B4-BE49-F238E27FC236}">
                    <a16:creationId xmlns:a16="http://schemas.microsoft.com/office/drawing/2014/main" id="{3A507EAB-6FD7-B91A-963A-F726C1780C5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3957320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Ellipse 33">
                <a:extLst>
                  <a:ext uri="{FF2B5EF4-FFF2-40B4-BE49-F238E27FC236}">
                    <a16:creationId xmlns:a16="http://schemas.microsoft.com/office/drawing/2014/main" id="{A213891D-DC2F-866B-8A3C-18EAC316AE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230876"/>
                <a:ext cx="235574" cy="235574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Ellipse 34">
                <a:extLst>
                  <a:ext uri="{FF2B5EF4-FFF2-40B4-BE49-F238E27FC236}">
                    <a16:creationId xmlns:a16="http://schemas.microsoft.com/office/drawing/2014/main" id="{EE6F4E71-C0E2-A285-B0A5-7E15E63339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423026" y="4504432"/>
                <a:ext cx="235574" cy="23557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" name="Rechteck: abgerundete Ecken 31">
              <a:extLst>
                <a:ext uri="{FF2B5EF4-FFF2-40B4-BE49-F238E27FC236}">
                  <a16:creationId xmlns:a16="http://schemas.microsoft.com/office/drawing/2014/main" id="{9291DA1E-83B6-9119-6C33-74C2053F042D}"/>
                </a:ext>
              </a:extLst>
            </p:cNvPr>
            <p:cNvSpPr>
              <a:spLocks/>
            </p:cNvSpPr>
            <p:nvPr/>
          </p:nvSpPr>
          <p:spPr>
            <a:xfrm>
              <a:off x="11378863" y="3907808"/>
              <a:ext cx="323900" cy="883267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57" name="Chart 3">
            <a:extLst>
              <a:ext uri="{FF2B5EF4-FFF2-40B4-BE49-F238E27FC236}">
                <a16:creationId xmlns:a16="http://schemas.microsoft.com/office/drawing/2014/main" id="{B05F5E85-96A0-400C-B5BB-294937164D4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1932521"/>
              </p:ext>
            </p:extLst>
          </p:nvPr>
        </p:nvGraphicFramePr>
        <p:xfrm>
          <a:off x="493713" y="1716088"/>
          <a:ext cx="3506787" cy="156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9500155-AA37-8220-32E3-22190928DE8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30275" y="3063875"/>
            <a:ext cx="403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6A4B37-7B75-40FA-A9C2-5087982E78A0}" type="datetime'''''''2''''''''''''''''''''''''''''''''''0''''''2''''''0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48C588A-A7DF-027C-CC0C-ED8F7001642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063750" y="3063875"/>
            <a:ext cx="3667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1FD791-78C1-4482-8FB8-433C376D0FD5}" type="datetime'''''''''''2''''''''''0''''''''''''2''''''''''''''''1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BC017F4B-FF1E-401A-0AC9-F2D0846BF0D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160713" y="3063875"/>
            <a:ext cx="398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EE2544-258B-416E-A9F1-729EF9C7BBB7}" type="datetime'''20''''''''''''''''''''''2''''''''''2''''''''''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Rechteck 97">
            <a:extLst>
              <a:ext uri="{FF2B5EF4-FFF2-40B4-BE49-F238E27FC236}">
                <a16:creationId xmlns:a16="http://schemas.microsoft.com/office/drawing/2014/main" id="{542BD363-A4A4-2E11-BAF8-3DEE9DEBD2D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73088" y="3373438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98">
            <a:extLst>
              <a:ext uri="{FF2B5EF4-FFF2-40B4-BE49-F238E27FC236}">
                <a16:creationId xmlns:a16="http://schemas.microsoft.com/office/drawing/2014/main" id="{5B3B6DDE-DC92-B394-5718-741E6D52659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371600" y="3373438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99">
            <a:extLst>
              <a:ext uri="{FF2B5EF4-FFF2-40B4-BE49-F238E27FC236}">
                <a16:creationId xmlns:a16="http://schemas.microsoft.com/office/drawing/2014/main" id="{A89D05FD-0218-F5E7-E0C6-E6FAA90F2F9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195513" y="3373438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B746353-930B-1986-3A47-6785A1B1B4D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03275" y="3368675"/>
            <a:ext cx="466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0EB8DC-3CD5-4152-9371-E1BEA1FFF23A}" type="datetime'''''S''e''''''''r''''i''''''''''''''es'''''' ''''1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51B3A059-FCBB-2726-6FB5-49EA7FF41115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601788" y="3368675"/>
            <a:ext cx="492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4C67D0-6BAA-4E98-9891-63C35EA9D368}" type="datetime'''''''''''S''er''''''''''i''es'''''' ''''2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12586BC-AE76-15FB-DEDE-5DCFE64990F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425700" y="3368675"/>
            <a:ext cx="490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64185-A2D8-4DE9-B6C8-77CF51811CCD}" type="datetime'Se''''''r''''''''''''''''i''''''e''s'' ''''''''3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549881BB-9693-4236-BB70-A3C1CC74F4CE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35317456"/>
              </p:ext>
            </p:extLst>
          </p:nvPr>
        </p:nvGraphicFramePr>
        <p:xfrm>
          <a:off x="5383213" y="2065338"/>
          <a:ext cx="1463675" cy="146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559CDB4-E7D6-B1B3-0B3C-27478F4ECB4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807200" y="2886075"/>
            <a:ext cx="561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E14EA1-C893-4FF6-A733-B83B8ECB89F4}" type="datetime'''''''''''''''Se''''r''''''''''ies'''' ''''''1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048497B-3DCC-9007-5804-D2F41C5BC93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851400" y="2989263"/>
            <a:ext cx="593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96CC91-EBDA-41A7-935C-9EEDD28349A2}" type="datetime'''''S''''e''r''i''''e''''''''s'''''''''''''' ''''2''''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8D365AE-CB6A-92AD-A2DC-644C1F81E34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164137" y="2043113"/>
            <a:ext cx="592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04CE60-849A-47D9-BC79-023014715904}" type="datetime'''''''S''''''e''ri''e''''''s ''''''''''''''3''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32312C14-A9CD-452A-AC25-537634A4CE96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24312778"/>
              </p:ext>
            </p:extLst>
          </p:nvPr>
        </p:nvGraphicFramePr>
        <p:xfrm>
          <a:off x="8212138" y="2016125"/>
          <a:ext cx="3506787" cy="107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83625" y="3055938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0CFC26-8479-4AD1-B7C9-BA4C0FB98ED9}" type="datetime'''''''''''''20''''''''''''''''''''''''''''2''''''''''''0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810750" y="3055938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E5296B-1BB3-4529-99FE-0C972EAC31E9}" type="datetime'''''''''2''''''''''''''''''0''''''''''''''''21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12475" y="3055938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962C77-5655-4E6C-9522-AD024CCB7ABC}" type="datetime'''''''''2''''''''''''''0''2''''''''2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9" name="Gerader Verbinder 177">
            <a:extLst>
              <a:ext uri="{FF2B5EF4-FFF2-40B4-BE49-F238E27FC236}">
                <a16:creationId xmlns:a16="http://schemas.microsoft.com/office/drawing/2014/main" id="{119E1710-B8B3-EEE4-B88B-5A8B3C7C03FA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8347075" y="3440113"/>
            <a:ext cx="141288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r Verbinder 178">
            <a:extLst>
              <a:ext uri="{FF2B5EF4-FFF2-40B4-BE49-F238E27FC236}">
                <a16:creationId xmlns:a16="http://schemas.microsoft.com/office/drawing/2014/main" id="{18C72CF5-CC95-D32C-9EF9-ECDD84A5BB36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9145588" y="3440113"/>
            <a:ext cx="141288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179">
            <a:extLst>
              <a:ext uri="{FF2B5EF4-FFF2-40B4-BE49-F238E27FC236}">
                <a16:creationId xmlns:a16="http://schemas.microsoft.com/office/drawing/2014/main" id="{039D36F8-0773-C1E4-D7FD-57EDFB792863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9969500" y="3440113"/>
            <a:ext cx="141288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58B06B3-D6E2-5A39-4265-EE2D1DB38CD0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8558213" y="3368675"/>
            <a:ext cx="466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C0AF01-F14A-4E47-826B-BB232CBDF4EB}" type="datetime'''''''''S''''e''''''''r''i''''''es'''''' 1''''''''''''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791660A-F659-F45E-F508-247F9231D686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9356725" y="3368675"/>
            <a:ext cx="492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855BA4-9204-4FD4-A9B2-E05CEB6D24C5}" type="datetime'S''''''''''''''''''''''''''''''''''e''''r''''i''''es 2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E38D0992-D04A-5638-B737-4FF34A5AFA9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0180638" y="3368675"/>
            <a:ext cx="490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40D67B-EC69-4483-992A-FE9AC2C466FB}" type="datetime'''''S''''''''''''''''''''''e''''''rie''s'''''''''''' 3'''''''">
              <a:rPr lang="en-US" altLang="en-US" sz="10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1B7D072-AD1E-E3C2-290A-37E9022F058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00086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ashboards, lights, overview, overviews, summary, summaries, think-cell, donut, doughnut, line, chart, bar, bars, column, columns, cluster, clustered</a:t>
            </a:r>
          </a:p>
        </p:txBody>
      </p:sp>
      <p:sp>
        <p:nvSpPr>
          <p:cNvPr id="54" name="Rectangle 18">
            <a:extLst>
              <a:ext uri="{FF2B5EF4-FFF2-40B4-BE49-F238E27FC236}">
                <a16:creationId xmlns:a16="http://schemas.microsoft.com/office/drawing/2014/main" id="{8A6255A2-3480-D550-4E0C-C15D17E1A4FD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 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5499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EQYrFHh2IaT3wzwVOD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x4kYiawT1YNFrbuRSC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O6unX4uk5Q7VxjZHLa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ZatfmKwsNxn7zl4L5m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BRTI.GBW0DONLdnb1M_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.HFCBTXiFuDLm8zSYF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lUsIYfEWDqq7renTX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Q1eTDd_dPs5PYNhTkN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JqPYbA7kOiSCkzXt3Y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BtuFJPhRS7Yj4m8hY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PC3WUb4oMa5jWn4YUU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ENe4BD1wCcu60lMUnf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onxkvQ62zCYGQPYnqD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aLX0obPKRUQbyp6g2d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46iknxytsEdrJiIiTb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UXC2dC4Kim8lbV_DPWP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H.aVsuYzAmjLf_C2xdB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bHoFFQECuVwX8iD8fZ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UY6C8vIbNkbHpS89g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Bp7qmEM9T92N3APpDF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vmppURWFf1p7Z9CZoI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vDa5lzW5v5ww4LocLK7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udHqO.ZQ_wCI8_S8ub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Mmb7nxiBFxWm8Nkp1S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